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5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20892068871282E-2"/>
          <c:y val="1.9062960089580902E-2"/>
          <c:w val="0.9425083474987449"/>
          <c:h val="0.9030685456212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A58-4CEB-B821-3FF9DC918ED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A58-4CEB-B821-3FF9DC918ED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A58-4CEB-B821-3FF9DC918ED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58-4CEB-B821-3FF9DC918ED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A58-4CEB-B821-3FF9DC918ED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FA58-4CEB-B821-3FF9DC918EDD}"/>
              </c:ext>
            </c:extLst>
          </c:dPt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80</c:v>
                </c:pt>
                <c:pt idx="1">
                  <c:v>400</c:v>
                </c:pt>
                <c:pt idx="2">
                  <c:v>720</c:v>
                </c:pt>
                <c:pt idx="3">
                  <c:v>620</c:v>
                </c:pt>
                <c:pt idx="4">
                  <c:v>180</c:v>
                </c:pt>
                <c:pt idx="5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A58-4CEB-B821-3FF9DC918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34216960"/>
        <c:axId val="1940434720"/>
      </c:barChart>
      <c:barChart>
        <c:barDir val="bar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Insert Tex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00</c:v>
                </c:pt>
                <c:pt idx="1">
                  <c:v>250</c:v>
                </c:pt>
                <c:pt idx="2">
                  <c:v>450</c:v>
                </c:pt>
                <c:pt idx="3">
                  <c:v>300</c:v>
                </c:pt>
                <c:pt idx="4">
                  <c:v>100</c:v>
                </c:pt>
                <c:pt idx="5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A58-4CEB-B821-3FF9DC918ED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E-FA58-4CEB-B821-3FF9DC918ED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F-FA58-4CEB-B821-3FF9DC918ED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Insert Text Here</c:v>
                </c:pt>
                <c:pt idx="1">
                  <c:v>Insert Text Here</c:v>
                </c:pt>
                <c:pt idx="2">
                  <c:v>Insert Text Here</c:v>
                </c:pt>
                <c:pt idx="3">
                  <c:v>Insert Text Here</c:v>
                </c:pt>
                <c:pt idx="4">
                  <c:v>Insert Text Here</c:v>
                </c:pt>
                <c:pt idx="5">
                  <c:v>Insert Text Here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10-FA58-4CEB-B821-3FF9DC918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2088351328"/>
        <c:axId val="2074113632"/>
      </c:barChart>
      <c:catAx>
        <c:axId val="20342169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BFBFB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940434720"/>
        <c:crosses val="autoZero"/>
        <c:auto val="1"/>
        <c:lblAlgn val="ctr"/>
        <c:lblOffset val="100"/>
        <c:noMultiLvlLbl val="0"/>
      </c:catAx>
      <c:valAx>
        <c:axId val="1940434720"/>
        <c:scaling>
          <c:orientation val="minMax"/>
          <c:max val="800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BFBFB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34216960"/>
        <c:crosses val="max"/>
        <c:crossBetween val="between"/>
        <c:majorUnit val="100"/>
      </c:valAx>
      <c:valAx>
        <c:axId val="2074113632"/>
        <c:scaling>
          <c:orientation val="minMax"/>
          <c:max val="800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88351328"/>
        <c:crosses val="max"/>
        <c:crossBetween val="between"/>
      </c:valAx>
      <c:catAx>
        <c:axId val="20883513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74113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CD9106-A7FB-0F74-6E1A-DBA96E8685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FCE05F-C871-3CCB-7A26-44329C813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16CCF3-5CEA-1A0E-9E51-AEDEA3847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81D4F47-302C-FAA6-D2AE-6B0373415BB7}"/>
              </a:ext>
            </a:extLst>
          </p:cNvPr>
          <p:cNvGraphicFramePr/>
          <p:nvPr/>
        </p:nvGraphicFramePr>
        <p:xfrm>
          <a:off x="4455485" y="1812404"/>
          <a:ext cx="7325012" cy="3993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hape1_20220317_130846">
            <a:extLst>
              <a:ext uri="{FF2B5EF4-FFF2-40B4-BE49-F238E27FC236}">
                <a16:creationId xmlns:a16="http://schemas.microsoft.com/office/drawing/2014/main" id="{4D5E1090-3774-ABA9-FF29-CFABAEEE86A4}"/>
              </a:ext>
            </a:extLst>
          </p:cNvPr>
          <p:cNvSpPr>
            <a:spLocks/>
          </p:cNvSpPr>
          <p:nvPr/>
        </p:nvSpPr>
        <p:spPr>
          <a:xfrm>
            <a:off x="489055" y="3746447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8D2D3F-D2E5-0BDA-8712-F837C2CF12FC}"/>
              </a:ext>
            </a:extLst>
          </p:cNvPr>
          <p:cNvSpPr txBox="1">
            <a:spLocks/>
          </p:cNvSpPr>
          <p:nvPr/>
        </p:nvSpPr>
        <p:spPr>
          <a:xfrm>
            <a:off x="709515" y="3844647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98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9" name="Shape3_20220317_130846">
            <a:extLst>
              <a:ext uri="{FF2B5EF4-FFF2-40B4-BE49-F238E27FC236}">
                <a16:creationId xmlns:a16="http://schemas.microsoft.com/office/drawing/2014/main" id="{2B16CD24-AF94-EB39-3DD5-7CCF8A850474}"/>
              </a:ext>
            </a:extLst>
          </p:cNvPr>
          <p:cNvSpPr>
            <a:spLocks/>
          </p:cNvSpPr>
          <p:nvPr/>
        </p:nvSpPr>
        <p:spPr>
          <a:xfrm>
            <a:off x="489055" y="3117520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55B173-5A08-D8D5-5CFD-4F0E4952AE97}"/>
              </a:ext>
            </a:extLst>
          </p:cNvPr>
          <p:cNvSpPr txBox="1">
            <a:spLocks/>
          </p:cNvSpPr>
          <p:nvPr/>
        </p:nvSpPr>
        <p:spPr>
          <a:xfrm>
            <a:off x="709515" y="3215722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98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Shape5_20220317_130846">
            <a:extLst>
              <a:ext uri="{FF2B5EF4-FFF2-40B4-BE49-F238E27FC236}">
                <a16:creationId xmlns:a16="http://schemas.microsoft.com/office/drawing/2014/main" id="{6BE5EEE0-7C6F-3A8A-32BE-243ADA0F0186}"/>
              </a:ext>
            </a:extLst>
          </p:cNvPr>
          <p:cNvSpPr>
            <a:spLocks/>
          </p:cNvSpPr>
          <p:nvPr/>
        </p:nvSpPr>
        <p:spPr>
          <a:xfrm>
            <a:off x="489055" y="4375371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2F933F-87A6-9E7F-8F89-024AA96C96B9}"/>
              </a:ext>
            </a:extLst>
          </p:cNvPr>
          <p:cNvSpPr txBox="1">
            <a:spLocks/>
          </p:cNvSpPr>
          <p:nvPr/>
        </p:nvSpPr>
        <p:spPr>
          <a:xfrm>
            <a:off x="709515" y="4473574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98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Shape7_20220317_130846">
            <a:extLst>
              <a:ext uri="{FF2B5EF4-FFF2-40B4-BE49-F238E27FC236}">
                <a16:creationId xmlns:a16="http://schemas.microsoft.com/office/drawing/2014/main" id="{1047D4B7-15F9-85B9-AF29-FAC926FDD8E6}"/>
              </a:ext>
            </a:extLst>
          </p:cNvPr>
          <p:cNvSpPr>
            <a:spLocks/>
          </p:cNvSpPr>
          <p:nvPr/>
        </p:nvSpPr>
        <p:spPr>
          <a:xfrm>
            <a:off x="489055" y="2488595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426F8BE-6125-5D21-9EC4-9C69C5A1A1FD}"/>
              </a:ext>
            </a:extLst>
          </p:cNvPr>
          <p:cNvSpPr txBox="1">
            <a:spLocks/>
          </p:cNvSpPr>
          <p:nvPr/>
        </p:nvSpPr>
        <p:spPr>
          <a:xfrm>
            <a:off x="709515" y="2586794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98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1" name="Shape0_20220317_130846">
            <a:extLst>
              <a:ext uri="{FF2B5EF4-FFF2-40B4-BE49-F238E27FC236}">
                <a16:creationId xmlns:a16="http://schemas.microsoft.com/office/drawing/2014/main" id="{D8C794CA-07E4-F1AB-F211-AD2FC1924AAC}"/>
              </a:ext>
            </a:extLst>
          </p:cNvPr>
          <p:cNvSpPr>
            <a:spLocks/>
          </p:cNvSpPr>
          <p:nvPr/>
        </p:nvSpPr>
        <p:spPr>
          <a:xfrm>
            <a:off x="489055" y="1859666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C289187-72F7-5B59-3535-1DC326E546DD}"/>
              </a:ext>
            </a:extLst>
          </p:cNvPr>
          <p:cNvSpPr txBox="1">
            <a:spLocks/>
          </p:cNvSpPr>
          <p:nvPr/>
        </p:nvSpPr>
        <p:spPr>
          <a:xfrm>
            <a:off x="709515" y="1957866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98">
              <a:defRPr/>
            </a:pPr>
            <a:r>
              <a:rPr lang="en-US" sz="1572" dirty="0">
                <a:solidFill>
                  <a:srgbClr val="FFFFFF"/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5" name="Shape10_20220317_130846">
            <a:extLst>
              <a:ext uri="{FF2B5EF4-FFF2-40B4-BE49-F238E27FC236}">
                <a16:creationId xmlns:a16="http://schemas.microsoft.com/office/drawing/2014/main" id="{9F4D3591-5A35-3C26-876B-1964E0447565}"/>
              </a:ext>
            </a:extLst>
          </p:cNvPr>
          <p:cNvSpPr>
            <a:spLocks/>
          </p:cNvSpPr>
          <p:nvPr/>
        </p:nvSpPr>
        <p:spPr>
          <a:xfrm>
            <a:off x="489055" y="5004298"/>
            <a:ext cx="3653621" cy="438329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2743" indent="-262743" defTabSz="604898">
              <a:buFont typeface="Arial" panose="020B0604020202020204" pitchFamily="34" charset="0"/>
              <a:buChar char="•"/>
              <a:defRPr/>
            </a:pPr>
            <a:endParaRPr lang="en-US" sz="139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20D7B2-3715-5E44-52C9-90FE592618C4}"/>
              </a:ext>
            </a:extLst>
          </p:cNvPr>
          <p:cNvSpPr txBox="1">
            <a:spLocks/>
          </p:cNvSpPr>
          <p:nvPr/>
        </p:nvSpPr>
        <p:spPr>
          <a:xfrm>
            <a:off x="709515" y="5102965"/>
            <a:ext cx="2765517" cy="2419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defTabSz="604882">
              <a:defRPr/>
            </a:pPr>
            <a:r>
              <a:rPr lang="en-US" sz="1572" dirty="0">
                <a:solidFill>
                  <a:srgbClr val="FFFFFF"/>
                </a:solidFill>
                <a:cs typeface="CiscoSansTT ExtraLight" panose="020B0303020201020303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22023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4</TotalTime>
  <Words>2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iscoSansTT ExtraLight</vt:lpstr>
      <vt:lpstr>Courier New</vt:lpstr>
      <vt:lpstr>Crimson Pro</vt:lpstr>
      <vt:lpstr>Robot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1</cp:revision>
  <dcterms:created xsi:type="dcterms:W3CDTF">2021-03-31T02:49:57Z</dcterms:created>
  <dcterms:modified xsi:type="dcterms:W3CDTF">2025-10-16T11:28:58Z</dcterms:modified>
  <cp:category/>
</cp:coreProperties>
</file>